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A0936-2386-94C3-F864-F03C7C1DD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1FBAE99-3B2F-640A-3821-211152077C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BAE99-3B2F-640A-3821-211152077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9BC4EC-E6A6-982D-C1EA-E8AE846EB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CAEAAD-C178-0DFF-791A-BB0CD033F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header layout</a:t>
            </a:r>
          </a:p>
        </p:txBody>
      </p:sp>
      <p:sp>
        <p:nvSpPr>
          <p:cNvPr id="5" name="Shape1_20180316_070157">
            <a:extLst>
              <a:ext uri="{FF2B5EF4-FFF2-40B4-BE49-F238E27FC236}">
                <a16:creationId xmlns:a16="http://schemas.microsoft.com/office/drawing/2014/main" id="{8A4444E2-4BD5-27C0-7A2B-2A86B8DB7056}"/>
              </a:ext>
            </a:extLst>
          </p:cNvPr>
          <p:cNvSpPr/>
          <p:nvPr/>
        </p:nvSpPr>
        <p:spPr>
          <a:xfrm>
            <a:off x="4184047" y="1742942"/>
            <a:ext cx="3862876" cy="3862876"/>
          </a:xfrm>
          <a:prstGeom prst="star6">
            <a:avLst>
              <a:gd name="adj" fmla="val 25111"/>
              <a:gd name="hf" fmla="val 11547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E82224E-3ED5-1D91-B246-F848E2ABB90E}"/>
              </a:ext>
            </a:extLst>
          </p:cNvPr>
          <p:cNvSpPr txBox="1">
            <a:spLocks/>
          </p:cNvSpPr>
          <p:nvPr/>
        </p:nvSpPr>
        <p:spPr>
          <a:xfrm flipH="1">
            <a:off x="420913" y="2284541"/>
            <a:ext cx="295861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6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B9702C5B-EAFC-4591-B57C-F30111B8DA40}"/>
              </a:ext>
            </a:extLst>
          </p:cNvPr>
          <p:cNvSpPr txBox="1">
            <a:spLocks/>
          </p:cNvSpPr>
          <p:nvPr/>
        </p:nvSpPr>
        <p:spPr>
          <a:xfrm flipH="1">
            <a:off x="8996760" y="4331226"/>
            <a:ext cx="2919469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D9BDEB95-063B-FA8C-7E20-2B0B032D8C52}"/>
              </a:ext>
            </a:extLst>
          </p:cNvPr>
          <p:cNvSpPr txBox="1">
            <a:spLocks/>
          </p:cNvSpPr>
          <p:nvPr/>
        </p:nvSpPr>
        <p:spPr>
          <a:xfrm>
            <a:off x="449942" y="4303986"/>
            <a:ext cx="290062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A88B0F13-94C4-EC53-CEBB-1DA05489C8DA}"/>
              </a:ext>
            </a:extLst>
          </p:cNvPr>
          <p:cNvSpPr txBox="1">
            <a:spLocks/>
          </p:cNvSpPr>
          <p:nvPr/>
        </p:nvSpPr>
        <p:spPr>
          <a:xfrm>
            <a:off x="2670629" y="5608481"/>
            <a:ext cx="2975226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541C78-DDEF-CE85-C895-25D190103EC3}"/>
              </a:ext>
            </a:extLst>
          </p:cNvPr>
          <p:cNvGrpSpPr/>
          <p:nvPr/>
        </p:nvGrpSpPr>
        <p:grpSpPr>
          <a:xfrm>
            <a:off x="3511683" y="2369067"/>
            <a:ext cx="636681" cy="636683"/>
            <a:chOff x="8083683" y="3356038"/>
            <a:chExt cx="636681" cy="636683"/>
          </a:xfrm>
        </p:grpSpPr>
        <p:sp>
          <p:nvSpPr>
            <p:cNvPr id="11" name="Shape8_20180316_070157">
              <a:extLst>
                <a:ext uri="{FF2B5EF4-FFF2-40B4-BE49-F238E27FC236}">
                  <a16:creationId xmlns:a16="http://schemas.microsoft.com/office/drawing/2014/main" id="{C8A670FD-D29E-641F-3C64-FCEABB99B7F9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12" name="Shape0_20180316_070220">
              <a:extLst>
                <a:ext uri="{FF2B5EF4-FFF2-40B4-BE49-F238E27FC236}">
                  <a16:creationId xmlns:a16="http://schemas.microsoft.com/office/drawing/2014/main" id="{4166ABC2-4AB5-F098-A295-CD5B3B2064C5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13" name="Freeform 26">
                <a:extLst>
                  <a:ext uri="{FF2B5EF4-FFF2-40B4-BE49-F238E27FC236}">
                    <a16:creationId xmlns:a16="http://schemas.microsoft.com/office/drawing/2014/main" id="{E1CF65A6-7A50-037C-FF71-7250486515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4" name="Freeform 27">
                <a:extLst>
                  <a:ext uri="{FF2B5EF4-FFF2-40B4-BE49-F238E27FC236}">
                    <a16:creationId xmlns:a16="http://schemas.microsoft.com/office/drawing/2014/main" id="{2D36F4E4-9777-5822-E587-704CE9F7A3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5" name="Freeform 28">
                <a:extLst>
                  <a:ext uri="{FF2B5EF4-FFF2-40B4-BE49-F238E27FC236}">
                    <a16:creationId xmlns:a16="http://schemas.microsoft.com/office/drawing/2014/main" id="{E749857D-ADF8-18CD-CEC0-B2003C5159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6" name="Freeform 29">
                <a:extLst>
                  <a:ext uri="{FF2B5EF4-FFF2-40B4-BE49-F238E27FC236}">
                    <a16:creationId xmlns:a16="http://schemas.microsoft.com/office/drawing/2014/main" id="{1D4E21BB-F869-4599-C641-9F0387E409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7" name="Freeform 30">
                <a:extLst>
                  <a:ext uri="{FF2B5EF4-FFF2-40B4-BE49-F238E27FC236}">
                    <a16:creationId xmlns:a16="http://schemas.microsoft.com/office/drawing/2014/main" id="{DADB2221-6ED6-EBF1-CFD7-67394B505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8" name="Freeform 31">
                <a:extLst>
                  <a:ext uri="{FF2B5EF4-FFF2-40B4-BE49-F238E27FC236}">
                    <a16:creationId xmlns:a16="http://schemas.microsoft.com/office/drawing/2014/main" id="{E33B01F2-118B-0F6C-20ED-BA03A961F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1623E51-FC1E-35E6-3335-3B709048A814}"/>
              </a:ext>
            </a:extLst>
          </p:cNvPr>
          <p:cNvGrpSpPr/>
          <p:nvPr/>
        </p:nvGrpSpPr>
        <p:grpSpPr>
          <a:xfrm>
            <a:off x="8187598" y="4386617"/>
            <a:ext cx="636681" cy="636683"/>
            <a:chOff x="5807255" y="5605817"/>
            <a:chExt cx="636681" cy="636683"/>
          </a:xfrm>
        </p:grpSpPr>
        <p:sp>
          <p:nvSpPr>
            <p:cNvPr id="20" name="Shape1_20180316_070220">
              <a:extLst>
                <a:ext uri="{FF2B5EF4-FFF2-40B4-BE49-F238E27FC236}">
                  <a16:creationId xmlns:a16="http://schemas.microsoft.com/office/drawing/2014/main" id="{8B10361C-E57F-6590-EB24-07511523ED5C}"/>
                </a:ext>
              </a:extLst>
            </p:cNvPr>
            <p:cNvSpPr/>
            <p:nvPr/>
          </p:nvSpPr>
          <p:spPr>
            <a:xfrm>
              <a:off x="5807255" y="5605817"/>
              <a:ext cx="636681" cy="6366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1" name="Shape2_20180316_070220">
              <a:extLst>
                <a:ext uri="{FF2B5EF4-FFF2-40B4-BE49-F238E27FC236}">
                  <a16:creationId xmlns:a16="http://schemas.microsoft.com/office/drawing/2014/main" id="{7E5663B3-EEEC-06D5-94AD-C934CA13980B}"/>
                </a:ext>
              </a:extLst>
            </p:cNvPr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5958969" y="5764089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C2D05E2-D32C-DCFF-1BA9-4F75C0F152DA}"/>
              </a:ext>
            </a:extLst>
          </p:cNvPr>
          <p:cNvGrpSpPr/>
          <p:nvPr/>
        </p:nvGrpSpPr>
        <p:grpSpPr>
          <a:xfrm>
            <a:off x="5814017" y="5663872"/>
            <a:ext cx="636681" cy="636683"/>
            <a:chOff x="3462701" y="3356038"/>
            <a:chExt cx="636681" cy="636683"/>
          </a:xfrm>
        </p:grpSpPr>
        <p:sp>
          <p:nvSpPr>
            <p:cNvPr id="23" name="Shape4_20180316_070157">
              <a:extLst>
                <a:ext uri="{FF2B5EF4-FFF2-40B4-BE49-F238E27FC236}">
                  <a16:creationId xmlns:a16="http://schemas.microsoft.com/office/drawing/2014/main" id="{291516A4-C845-2CFA-A02A-2140B85DF0D7}"/>
                </a:ext>
              </a:extLst>
            </p:cNvPr>
            <p:cNvSpPr/>
            <p:nvPr/>
          </p:nvSpPr>
          <p:spPr>
            <a:xfrm>
              <a:off x="3462701" y="3356038"/>
              <a:ext cx="636681" cy="6366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4" name="Shape3_20180316_070220">
              <a:extLst>
                <a:ext uri="{FF2B5EF4-FFF2-40B4-BE49-F238E27FC236}">
                  <a16:creationId xmlns:a16="http://schemas.microsoft.com/office/drawing/2014/main" id="{D1D74518-4AC7-2332-85DA-9F33BE1D4F39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616909" y="3507339"/>
              <a:ext cx="333252" cy="334081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B6257A0-7B54-8AB1-B8BB-97D970BDA636}"/>
              </a:ext>
            </a:extLst>
          </p:cNvPr>
          <p:cNvGrpSpPr/>
          <p:nvPr/>
        </p:nvGrpSpPr>
        <p:grpSpPr>
          <a:xfrm>
            <a:off x="3470456" y="4357459"/>
            <a:ext cx="636681" cy="636683"/>
            <a:chOff x="5807255" y="1106259"/>
            <a:chExt cx="636681" cy="636683"/>
          </a:xfrm>
        </p:grpSpPr>
        <p:sp>
          <p:nvSpPr>
            <p:cNvPr id="26" name="Shape6_20180316_070157">
              <a:extLst>
                <a:ext uri="{FF2B5EF4-FFF2-40B4-BE49-F238E27FC236}">
                  <a16:creationId xmlns:a16="http://schemas.microsoft.com/office/drawing/2014/main" id="{D5C884FD-D0B4-ED64-4B6B-AB36FD5D245B}"/>
                </a:ext>
              </a:extLst>
            </p:cNvPr>
            <p:cNvSpPr/>
            <p:nvPr/>
          </p:nvSpPr>
          <p:spPr>
            <a:xfrm>
              <a:off x="5807255" y="1106259"/>
              <a:ext cx="636681" cy="63668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27" name="Shape4_20180316_070220">
              <a:extLst>
                <a:ext uri="{FF2B5EF4-FFF2-40B4-BE49-F238E27FC236}">
                  <a16:creationId xmlns:a16="http://schemas.microsoft.com/office/drawing/2014/main" id="{00444B78-28B2-19D2-9597-58E52507B37D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5958969" y="1274710"/>
              <a:ext cx="333252" cy="333252"/>
              <a:chOff x="-4769427" y="-314325"/>
              <a:chExt cx="4660901" cy="4576762"/>
            </a:xfrm>
            <a:solidFill>
              <a:schemeClr val="bg1"/>
            </a:solidFill>
          </p:grpSpPr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6237F34D-ECD1-423A-5539-E8CFB11839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:a16="http://schemas.microsoft.com/office/drawing/2014/main" id="{3845EECC-DBC6-CC38-2C19-F840D9026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D682CF78-B1FE-ED57-6807-CB98B8818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79340A29-F85B-5F50-74FA-67DD71022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F5F81E33-3AB1-4587-EB2F-D75B0C753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D7501C5E-BC22-E180-033D-8DB77A71D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4" name="Shape6_20180316_070157">
            <a:extLst>
              <a:ext uri="{FF2B5EF4-FFF2-40B4-BE49-F238E27FC236}">
                <a16:creationId xmlns:a16="http://schemas.microsoft.com/office/drawing/2014/main" id="{5272B2EA-9FF9-F2FB-49DE-364084414AB0}"/>
              </a:ext>
            </a:extLst>
          </p:cNvPr>
          <p:cNvSpPr/>
          <p:nvPr/>
        </p:nvSpPr>
        <p:spPr>
          <a:xfrm>
            <a:off x="8115028" y="2398031"/>
            <a:ext cx="636681" cy="63668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35" name="Inhaltsplatzhalter 4">
            <a:extLst>
              <a:ext uri="{FF2B5EF4-FFF2-40B4-BE49-F238E27FC236}">
                <a16:creationId xmlns:a16="http://schemas.microsoft.com/office/drawing/2014/main" id="{A2B20D66-F47E-6273-EE97-ECC88CAAB6F0}"/>
              </a:ext>
            </a:extLst>
          </p:cNvPr>
          <p:cNvSpPr txBox="1">
            <a:spLocks/>
          </p:cNvSpPr>
          <p:nvPr/>
        </p:nvSpPr>
        <p:spPr>
          <a:xfrm flipH="1">
            <a:off x="8866132" y="2342598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6" name="Shape2_20180316_070220">
            <a:extLst>
              <a:ext uri="{FF2B5EF4-FFF2-40B4-BE49-F238E27FC236}">
                <a16:creationId xmlns:a16="http://schemas.microsoft.com/office/drawing/2014/main" id="{252ABAFF-9D2B-F6F2-B5AE-9A1E49BE84D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266742" y="2549746"/>
            <a:ext cx="333252" cy="333252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780207-BC6C-070E-2414-16998117910F}"/>
              </a:ext>
            </a:extLst>
          </p:cNvPr>
          <p:cNvGrpSpPr/>
          <p:nvPr/>
        </p:nvGrpSpPr>
        <p:grpSpPr>
          <a:xfrm>
            <a:off x="5833969" y="1077295"/>
            <a:ext cx="636681" cy="636683"/>
            <a:chOff x="8083683" y="3356038"/>
            <a:chExt cx="636681" cy="636683"/>
          </a:xfrm>
        </p:grpSpPr>
        <p:sp>
          <p:nvSpPr>
            <p:cNvPr id="38" name="Shape8_20180316_070157">
              <a:extLst>
                <a:ext uri="{FF2B5EF4-FFF2-40B4-BE49-F238E27FC236}">
                  <a16:creationId xmlns:a16="http://schemas.microsoft.com/office/drawing/2014/main" id="{AC7283C0-EAAB-988A-C10C-2C30620C0125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39" name="Shape0_20180316_070220">
              <a:extLst>
                <a:ext uri="{FF2B5EF4-FFF2-40B4-BE49-F238E27FC236}">
                  <a16:creationId xmlns:a16="http://schemas.microsoft.com/office/drawing/2014/main" id="{0B0C5120-14E6-2E6B-F07F-B30ACA1572E4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40" name="Freeform 26">
                <a:extLst>
                  <a:ext uri="{FF2B5EF4-FFF2-40B4-BE49-F238E27FC236}">
                    <a16:creationId xmlns:a16="http://schemas.microsoft.com/office/drawing/2014/main" id="{426C97E0-62D5-6285-BF18-4D7CEC7610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1" name="Freeform 27">
                <a:extLst>
                  <a:ext uri="{FF2B5EF4-FFF2-40B4-BE49-F238E27FC236}">
                    <a16:creationId xmlns:a16="http://schemas.microsoft.com/office/drawing/2014/main" id="{87111EC3-E5DB-5A5A-A25F-A3647DDE44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2" name="Freeform 28">
                <a:extLst>
                  <a:ext uri="{FF2B5EF4-FFF2-40B4-BE49-F238E27FC236}">
                    <a16:creationId xmlns:a16="http://schemas.microsoft.com/office/drawing/2014/main" id="{DB187D87-DA8E-F667-90F5-AF012B260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3" name="Freeform 29">
                <a:extLst>
                  <a:ext uri="{FF2B5EF4-FFF2-40B4-BE49-F238E27FC236}">
                    <a16:creationId xmlns:a16="http://schemas.microsoft.com/office/drawing/2014/main" id="{5C908933-067D-8147-3504-514DB98D9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4" name="Freeform 30">
                <a:extLst>
                  <a:ext uri="{FF2B5EF4-FFF2-40B4-BE49-F238E27FC236}">
                    <a16:creationId xmlns:a16="http://schemas.microsoft.com/office/drawing/2014/main" id="{6BF78E6D-B9ED-2933-C6E1-818CE1E0F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5" name="Freeform 31">
                <a:extLst>
                  <a:ext uri="{FF2B5EF4-FFF2-40B4-BE49-F238E27FC236}">
                    <a16:creationId xmlns:a16="http://schemas.microsoft.com/office/drawing/2014/main" id="{57EF69B5-BDA4-7CB3-7AF7-86A9E4410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sp>
        <p:nvSpPr>
          <p:cNvPr id="46" name="Inhaltsplatzhalter 4">
            <a:extLst>
              <a:ext uri="{FF2B5EF4-FFF2-40B4-BE49-F238E27FC236}">
                <a16:creationId xmlns:a16="http://schemas.microsoft.com/office/drawing/2014/main" id="{5966D4D9-0CB1-50FE-DB2C-3D4E7E38610A}"/>
              </a:ext>
            </a:extLst>
          </p:cNvPr>
          <p:cNvSpPr txBox="1">
            <a:spLocks/>
          </p:cNvSpPr>
          <p:nvPr/>
        </p:nvSpPr>
        <p:spPr>
          <a:xfrm flipH="1">
            <a:off x="6630932" y="1036313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3059899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3</TotalTime>
  <Words>16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6 header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54</cp:revision>
  <dcterms:created xsi:type="dcterms:W3CDTF">2021-03-31T02:49:57Z</dcterms:created>
  <dcterms:modified xsi:type="dcterms:W3CDTF">2025-10-15T08:27:20Z</dcterms:modified>
  <cp:category/>
</cp:coreProperties>
</file>